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6"/>
  </p:notesMasterIdLst>
  <p:handoutMasterIdLst>
    <p:handoutMasterId r:id="rId7"/>
  </p:handoutMasterIdLst>
  <p:sldIdLst>
    <p:sldId id="256" r:id="rId2"/>
    <p:sldId id="257" r:id="rId3"/>
    <p:sldId id="259" r:id="rId4"/>
    <p:sldId id="258" r:id="rId5"/>
  </p:sldIdLst>
  <p:sldSz cx="9144000" cy="6858000" type="screen4x3"/>
  <p:notesSz cx="6797675" cy="9926638"/>
  <p:custDataLst>
    <p:tags r:id="rId8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CC00"/>
    <a:srgbClr val="FFCC00"/>
    <a:srgbClr val="33CCCC"/>
    <a:srgbClr val="66FFCC"/>
    <a:srgbClr val="4DD3B0"/>
    <a:srgbClr val="20D0B3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68" autoAdjust="0"/>
  </p:normalViewPr>
  <p:slideViewPr>
    <p:cSldViewPr>
      <p:cViewPr>
        <p:scale>
          <a:sx n="110" d="100"/>
          <a:sy n="110" d="100"/>
        </p:scale>
        <p:origin x="-144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7C365B1-B7B5-460C-B629-1109E67FD9E2}" type="slidenum">
              <a:rPr lang="fr-FR" smtClean="0"/>
              <a:pPr eaLnBrk="1" hangingPunct="1"/>
              <a:t>3</a:t>
            </a:fld>
            <a:endParaRPr lang="fr-FR" smtClean="0"/>
          </a:p>
        </p:txBody>
      </p:sp>
      <p:sp>
        <p:nvSpPr>
          <p:cNvPr id="35843" name="Rectangle 2"/>
          <p:cNvSpPr>
            <a:spLocks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5844" name="Rectangle 3"/>
          <p:cNvSpPr>
            <a:spLocks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smtClean="0"/>
          </a:p>
          <a:p>
            <a:pPr lvl="1" eaLnBrk="1" hangingPunct="1"/>
            <a:endParaRPr lang="en-US" smtClean="0"/>
          </a:p>
          <a:p>
            <a:pPr lvl="2" eaLnBrk="1" hangingPunct="1"/>
            <a:endParaRPr lang="fr-FR" smtClean="0"/>
          </a:p>
          <a:p>
            <a:pPr lvl="4" eaLnBrk="1" hangingPunct="1"/>
            <a:endParaRPr lang="fr-FR" smtClean="0"/>
          </a:p>
          <a:p>
            <a:pPr lvl="4" eaLnBrk="1" hangingPunct="1"/>
            <a:endParaRPr lang="fr-FR" smtClean="0"/>
          </a:p>
          <a:p>
            <a:pPr lvl="4" eaLnBrk="1" hangingPunct="1"/>
            <a:endParaRPr lang="fr-FR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mtClean="0">
              <a:latin typeface="Constantia" pitchFamily="18" charset="0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sp>
        <p:nvSpPr>
          <p:cNvPr id="512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avec flèche 12"/>
          <p:cNvCxnSpPr>
            <a:stCxn id="2" idx="2"/>
            <a:endCxn id="6" idx="0"/>
          </p:cNvCxnSpPr>
          <p:nvPr/>
        </p:nvCxnSpPr>
        <p:spPr>
          <a:xfrm flipH="1">
            <a:off x="4067969" y="3158811"/>
            <a:ext cx="1260115" cy="630552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6" idx="2"/>
            <a:endCxn id="8" idx="0"/>
          </p:cNvCxnSpPr>
          <p:nvPr/>
        </p:nvCxnSpPr>
        <p:spPr>
          <a:xfrm>
            <a:off x="4067175" y="4365625"/>
            <a:ext cx="1657350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6" idx="2"/>
            <a:endCxn id="9" idx="0"/>
          </p:cNvCxnSpPr>
          <p:nvPr/>
        </p:nvCxnSpPr>
        <p:spPr>
          <a:xfrm>
            <a:off x="4067175" y="4365625"/>
            <a:ext cx="15875" cy="161925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stCxn id="6" idx="2"/>
            <a:endCxn id="7" idx="0"/>
          </p:cNvCxnSpPr>
          <p:nvPr/>
        </p:nvCxnSpPr>
        <p:spPr>
          <a:xfrm flipH="1">
            <a:off x="2419350" y="4365625"/>
            <a:ext cx="1647825" cy="457200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7" idx="2"/>
          </p:cNvCxnSpPr>
          <p:nvPr/>
        </p:nvCxnSpPr>
        <p:spPr>
          <a:xfrm flipH="1">
            <a:off x="2419350" y="5399088"/>
            <a:ext cx="794" cy="606425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5724525" y="5394325"/>
            <a:ext cx="14288" cy="611188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/>
          <p:cNvCxnSpPr>
            <a:stCxn id="35" idx="2"/>
            <a:endCxn id="6" idx="0"/>
          </p:cNvCxnSpPr>
          <p:nvPr/>
        </p:nvCxnSpPr>
        <p:spPr>
          <a:xfrm>
            <a:off x="2931794" y="3280734"/>
            <a:ext cx="1136175" cy="508629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 Les Flux Généraux de l’activité EcoTitanium</a:t>
            </a:r>
          </a:p>
        </p:txBody>
      </p:sp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0" y="6264275"/>
            <a:ext cx="179388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" name="Rectangle à coins arrondis 1"/>
          <p:cNvSpPr/>
          <p:nvPr/>
        </p:nvSpPr>
        <p:spPr>
          <a:xfrm>
            <a:off x="4355976" y="2582548"/>
            <a:ext cx="1944216" cy="576263"/>
          </a:xfrm>
          <a:prstGeom prst="roundRect">
            <a:avLst/>
          </a:prstGeom>
          <a:gradFill flip="none" rotWithShape="1">
            <a:gsLst>
              <a:gs pos="0">
                <a:srgbClr val="33CCCC"/>
              </a:gs>
              <a:gs pos="49000">
                <a:srgbClr val="FFCC00"/>
              </a:gs>
              <a:gs pos="100000">
                <a:srgbClr val="33CCCC"/>
              </a:gs>
            </a:gsLst>
            <a:lin ang="10800000" scaled="1"/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Elaboration 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lingots UKTMP</a:t>
            </a:r>
            <a:endParaRPr lang="fr-FR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2987675" y="3789363"/>
            <a:ext cx="2160588" cy="5762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Forgeage billettes UKAD Forge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339850" y="4822825"/>
            <a:ext cx="2160588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Transformation Branche Alliag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643438" y="4822825"/>
            <a:ext cx="2160587" cy="57626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dirty="0">
                <a:solidFill>
                  <a:srgbClr val="FF0000"/>
                </a:solidFill>
              </a:rPr>
              <a:t>Matriçage Pamier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1350963" y="5984875"/>
            <a:ext cx="5464175" cy="576263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rgbClr val="FFFF00"/>
                </a:solidFill>
              </a:rPr>
              <a:t>Clients</a:t>
            </a:r>
            <a:endParaRPr lang="fr-FR" sz="1600" dirty="0">
              <a:solidFill>
                <a:srgbClr val="FFFF00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H="1">
            <a:off x="7316930" y="2544763"/>
            <a:ext cx="3175" cy="719137"/>
          </a:xfrm>
          <a:prstGeom prst="straightConnector1">
            <a:avLst/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ZoneTexte 22"/>
          <p:cNvSpPr txBox="1">
            <a:spLocks noChangeArrowheads="1"/>
          </p:cNvSpPr>
          <p:nvPr/>
        </p:nvSpPr>
        <p:spPr bwMode="auto">
          <a:xfrm>
            <a:off x="7480427" y="2544763"/>
            <a:ext cx="914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Flux</a:t>
            </a:r>
          </a:p>
          <a:p>
            <a:pPr eaLnBrk="1" hangingPunct="1"/>
            <a:r>
              <a:rPr lang="fr-FR" sz="1600" dirty="0"/>
              <a:t>produits</a:t>
            </a:r>
          </a:p>
        </p:txBody>
      </p:sp>
      <p:cxnSp>
        <p:nvCxnSpPr>
          <p:cNvPr id="26" name="Connecteur en arc 25"/>
          <p:cNvCxnSpPr/>
          <p:nvPr/>
        </p:nvCxnSpPr>
        <p:spPr>
          <a:xfrm rot="5400000">
            <a:off x="6774904" y="3987800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8" name="ZoneTexte 56325"/>
          <p:cNvSpPr txBox="1">
            <a:spLocks noChangeArrowheads="1"/>
          </p:cNvSpPr>
          <p:nvPr/>
        </p:nvSpPr>
        <p:spPr bwMode="auto">
          <a:xfrm>
            <a:off x="7286873" y="3798716"/>
            <a:ext cx="20567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 smtClean="0"/>
              <a:t>Collecte de chutes </a:t>
            </a:r>
          </a:p>
          <a:p>
            <a:pPr eaLnBrk="1" hangingPunct="1"/>
            <a:r>
              <a:rPr lang="fr-FR" sz="1600" dirty="0" smtClean="0"/>
              <a:t>Partenaire externe</a:t>
            </a:r>
            <a:endParaRPr lang="fr-FR" sz="1600" dirty="0"/>
          </a:p>
        </p:txBody>
      </p:sp>
      <p:cxnSp>
        <p:nvCxnSpPr>
          <p:cNvPr id="41" name="Connecteur en arc 40"/>
          <p:cNvCxnSpPr/>
          <p:nvPr/>
        </p:nvCxnSpPr>
        <p:spPr>
          <a:xfrm rot="5400000">
            <a:off x="6774904" y="5307013"/>
            <a:ext cx="1079500" cy="1270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ZoneTexte 42"/>
          <p:cNvSpPr txBox="1">
            <a:spLocks noChangeArrowheads="1"/>
          </p:cNvSpPr>
          <p:nvPr/>
        </p:nvSpPr>
        <p:spPr bwMode="auto">
          <a:xfrm>
            <a:off x="7451726" y="4978400"/>
            <a:ext cx="15128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sz="1600" dirty="0"/>
              <a:t>Complément achat chutes externes</a:t>
            </a:r>
          </a:p>
        </p:txBody>
      </p:sp>
      <p:cxnSp>
        <p:nvCxnSpPr>
          <p:cNvPr id="44" name="Connecteur en arc 43"/>
          <p:cNvCxnSpPr>
            <a:stCxn id="33" idx="1"/>
            <a:endCxn id="9" idx="1"/>
          </p:cNvCxnSpPr>
          <p:nvPr/>
        </p:nvCxnSpPr>
        <p:spPr>
          <a:xfrm rot="10800000" flipV="1">
            <a:off x="1350964" y="1484313"/>
            <a:ext cx="504985" cy="4788694"/>
          </a:xfrm>
          <a:prstGeom prst="curvedConnector3">
            <a:avLst>
              <a:gd name="adj1" fmla="val 336593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en arc 50"/>
          <p:cNvCxnSpPr>
            <a:stCxn id="33" idx="1"/>
            <a:endCxn id="7" idx="1"/>
          </p:cNvCxnSpPr>
          <p:nvPr/>
        </p:nvCxnSpPr>
        <p:spPr>
          <a:xfrm rot="10800000" flipV="1">
            <a:off x="1339850" y="1484313"/>
            <a:ext cx="516098" cy="3626644"/>
          </a:xfrm>
          <a:prstGeom prst="curvedConnector3">
            <a:avLst>
              <a:gd name="adj1" fmla="val 261297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en arc 67"/>
          <p:cNvCxnSpPr>
            <a:stCxn id="33" idx="3"/>
            <a:endCxn id="8" idx="3"/>
          </p:cNvCxnSpPr>
          <p:nvPr/>
        </p:nvCxnSpPr>
        <p:spPr>
          <a:xfrm>
            <a:off x="4003836" y="1484313"/>
            <a:ext cx="2800189" cy="3626644"/>
          </a:xfrm>
          <a:prstGeom prst="curvedConnector3">
            <a:avLst>
              <a:gd name="adj1" fmla="val 108164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Nuage 31"/>
          <p:cNvSpPr/>
          <p:nvPr/>
        </p:nvSpPr>
        <p:spPr>
          <a:xfrm>
            <a:off x="6757988" y="908720"/>
            <a:ext cx="2206625" cy="1152525"/>
          </a:xfrm>
          <a:prstGeom prst="cloud">
            <a:avLst/>
          </a:prstGeom>
          <a:solidFill>
            <a:schemeClr val="accent3">
              <a:lumMod val="75000"/>
            </a:schemeClr>
          </a:solidFill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rgbClr val="FFFF00"/>
                </a:solidFill>
              </a:rPr>
              <a:t>Marché chutes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1855948" y="1124744"/>
            <a:ext cx="2147888" cy="719137"/>
          </a:xfrm>
          <a:prstGeom prst="roundRect">
            <a:avLst/>
          </a:prstGeom>
          <a:gradFill flip="none" rotWithShape="1">
            <a:gsLst>
              <a:gs pos="48000">
                <a:srgbClr val="00CC00"/>
              </a:gs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Traitement des </a:t>
            </a:r>
            <a:r>
              <a:rPr lang="fr-FR" sz="1600" dirty="0" smtClean="0">
                <a:solidFill>
                  <a:schemeClr val="bg1"/>
                </a:solidFill>
              </a:rPr>
              <a:t>chutes</a:t>
            </a:r>
          </a:p>
          <a:p>
            <a:pPr algn="ctr">
              <a:defRPr/>
            </a:pPr>
            <a:r>
              <a:rPr lang="fr-FR" sz="1600" dirty="0" smtClean="0">
                <a:solidFill>
                  <a:schemeClr val="bg1"/>
                </a:solidFill>
              </a:rPr>
              <a:t>Partenaire externe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80" name="Connecteur en arc 79"/>
          <p:cNvCxnSpPr>
            <a:stCxn id="35" idx="0"/>
            <a:endCxn id="33" idx="2"/>
          </p:cNvCxnSpPr>
          <p:nvPr/>
        </p:nvCxnSpPr>
        <p:spPr>
          <a:xfrm rot="16200000" flipV="1">
            <a:off x="2622471" y="2151303"/>
            <a:ext cx="616745" cy="1902"/>
          </a:xfrm>
          <a:prstGeom prst="curvedConnector3">
            <a:avLst>
              <a:gd name="adj1" fmla="val 50000"/>
            </a:avLst>
          </a:prstGeom>
          <a:ln w="76200">
            <a:gradFill flip="none" rotWithShape="1">
              <a:gsLst>
                <a:gs pos="50000">
                  <a:schemeClr val="bg1">
                    <a:lumMod val="50000"/>
                  </a:schemeClr>
                </a:gs>
                <a:gs pos="0">
                  <a:srgbClr val="00CC00"/>
                </a:gs>
                <a:gs pos="100000">
                  <a:schemeClr val="bg1">
                    <a:lumMod val="50000"/>
                  </a:schemeClr>
                </a:gs>
              </a:gsLst>
              <a:lin ang="10800000" scaled="0"/>
              <a:tileRect/>
            </a:gra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à coins arrondis 34"/>
          <p:cNvSpPr/>
          <p:nvPr/>
        </p:nvSpPr>
        <p:spPr>
          <a:xfrm>
            <a:off x="1939660" y="2460626"/>
            <a:ext cx="1984268" cy="820108"/>
          </a:xfrm>
          <a:prstGeom prst="roundRect">
            <a:avLst/>
          </a:prstGeom>
          <a:gradFill flip="none" rotWithShape="1">
            <a:gsLst>
              <a:gs pos="0">
                <a:srgbClr val="00CC00"/>
              </a:gs>
              <a:gs pos="50000">
                <a:schemeClr val="bg1">
                  <a:lumMod val="50000"/>
                </a:schemeClr>
              </a:gs>
              <a:gs pos="100000">
                <a:srgbClr val="00CC00"/>
              </a:gs>
            </a:gsLst>
            <a:lin ang="0" scaled="0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laboration </a:t>
            </a:r>
            <a:r>
              <a:rPr lang="fr-FR" sz="1600" b="1" dirty="0">
                <a:solidFill>
                  <a:schemeClr val="bg1"/>
                </a:solidFill>
              </a:rPr>
              <a:t>lingots </a:t>
            </a:r>
          </a:p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EcoTitanium</a:t>
            </a:r>
            <a:endParaRPr lang="fr-FR" sz="1600" b="1" dirty="0">
              <a:solidFill>
                <a:schemeClr val="bg1"/>
              </a:solidFill>
            </a:endParaRPr>
          </a:p>
        </p:txBody>
      </p:sp>
      <p:cxnSp>
        <p:nvCxnSpPr>
          <p:cNvPr id="55" name="Connecteur en arc 54"/>
          <p:cNvCxnSpPr>
            <a:stCxn id="33" idx="1"/>
            <a:endCxn id="6" idx="1"/>
          </p:cNvCxnSpPr>
          <p:nvPr/>
        </p:nvCxnSpPr>
        <p:spPr>
          <a:xfrm rot="10800000" flipH="1" flipV="1">
            <a:off x="1855947" y="1484312"/>
            <a:ext cx="1131727" cy="2593181"/>
          </a:xfrm>
          <a:prstGeom prst="curvedConnector3">
            <a:avLst>
              <a:gd name="adj1" fmla="val -84989"/>
            </a:avLst>
          </a:prstGeom>
          <a:ln w="76200">
            <a:solidFill>
              <a:srgbClr val="00CC00"/>
            </a:solidFill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en arc 81"/>
          <p:cNvCxnSpPr/>
          <p:nvPr/>
        </p:nvCxnSpPr>
        <p:spPr>
          <a:xfrm>
            <a:off x="4003836" y="1340768"/>
            <a:ext cx="2754152" cy="670"/>
          </a:xfrm>
          <a:prstGeom prst="curvedConnector3">
            <a:avLst>
              <a:gd name="adj1" fmla="val 50000"/>
            </a:avLst>
          </a:prstGeom>
          <a:ln w="76200">
            <a:solidFill>
              <a:srgbClr val="FFC00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62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6147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258888" y="4221163"/>
            <a:ext cx="7273925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  <p:sp>
        <p:nvSpPr>
          <p:cNvPr id="6148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mtClean="0">
              <a:latin typeface="Constantia" pitchFamily="18" charset="0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AF6A64E-4B03-4C02-B4D4-B86C2077094E}" type="slidenum">
              <a:rPr lang="fr-FR" smtClean="0">
                <a:latin typeface="Constantia" pitchFamily="18" charset="0"/>
              </a:rPr>
              <a:pPr eaLnBrk="1" hangingPunct="1"/>
              <a:t>4</a:t>
            </a:fld>
            <a:endParaRPr lang="fr-FR" smtClean="0">
              <a:latin typeface="Constant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</TotalTime>
  <Words>56</Words>
  <Application>Microsoft Office PowerPoint</Application>
  <PresentationFormat>Affichage à l'écran (4:3)</PresentationFormat>
  <Paragraphs>25</Paragraphs>
  <Slides>4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6" baseType="lpstr">
      <vt:lpstr>1_Conception personnalisée</vt:lpstr>
      <vt:lpstr>think-cell Slide</vt:lpstr>
      <vt:lpstr>Présentation PowerPoint</vt:lpstr>
      <vt:lpstr>Présentation PowerPoint</vt:lpstr>
      <vt:lpstr> Les Flux Généraux de l’activité EcoTitanium</vt:lpstr>
      <vt:lpstr>Modifiez le style du titre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DELABORDE Patrick</cp:lastModifiedBy>
  <cp:revision>52</cp:revision>
  <cp:lastPrinted>2012-02-07T13:53:46Z</cp:lastPrinted>
  <dcterms:created xsi:type="dcterms:W3CDTF">2012-01-16T09:24:08Z</dcterms:created>
  <dcterms:modified xsi:type="dcterms:W3CDTF">2012-08-29T09:50:20Z</dcterms:modified>
</cp:coreProperties>
</file>